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S)" userId="fd3b2067-2981-4ad8-bf3a-d2e1004e4fa8" providerId="ADAL" clId="{E5DC8321-2A15-4029-A656-EDA02A5FF0BA}"/>
    <pc:docChg chg="modSld">
      <pc:chgData name="Weigel Stefan (PAR-ES)" userId="fd3b2067-2981-4ad8-bf3a-d2e1004e4fa8" providerId="ADAL" clId="{E5DC8321-2A15-4029-A656-EDA02A5FF0BA}" dt="2023-02-01T14:17:01.345" v="79" actId="20577"/>
      <pc:docMkLst>
        <pc:docMk/>
      </pc:docMkLst>
      <pc:sldChg chg="modSp mod">
        <pc:chgData name="Weigel Stefan (PAR-ES)" userId="fd3b2067-2981-4ad8-bf3a-d2e1004e4fa8" providerId="ADAL" clId="{E5DC8321-2A15-4029-A656-EDA02A5FF0BA}" dt="2023-02-01T14:17:01.345" v="79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E5DC8321-2A15-4029-A656-EDA02A5FF0BA}" dt="2023-02-01T14:16:06.943" v="7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E5DC8321-2A15-4029-A656-EDA02A5FF0BA}" dt="2023-02-01T14:17:01.345" v="79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DEF672B4-2066-441A-81D9-2071592E7264}"/>
    <pc:docChg chg="modSld">
      <pc:chgData name="Weigel Stefan (PAR-EPS)" userId="fd3b2067-2981-4ad8-bf3a-d2e1004e4fa8" providerId="ADAL" clId="{DEF672B4-2066-441A-81D9-2071592E7264}" dt="2024-02-01T17:25:37.609" v="5" actId="27918"/>
      <pc:docMkLst>
        <pc:docMk/>
      </pc:docMkLst>
      <pc:sldChg chg="mod">
        <pc:chgData name="Weigel Stefan (PAR-EPS)" userId="fd3b2067-2981-4ad8-bf3a-d2e1004e4fa8" providerId="ADAL" clId="{DEF672B4-2066-441A-81D9-2071592E7264}" dt="2024-02-01T17:25:37.609" v="5" actId="27918"/>
        <pc:sldMkLst>
          <pc:docMk/>
          <pc:sldMk cId="2338066774" sldId="399"/>
        </pc:sldMkLst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E00B44F-E8CE-4663-B8C6-A6689D310ACF}"/>
    <pc:docChg chg="custSel modSld">
      <pc:chgData name="Weigel Stefan (PAR-EPS)" userId="fd3b2067-2981-4ad8-bf3a-d2e1004e4fa8" providerId="ADAL" clId="{9E00B44F-E8CE-4663-B8C6-A6689D310ACF}" dt="2024-01-11T17:06:34.117" v="25" actId="20577"/>
      <pc:docMkLst>
        <pc:docMk/>
      </pc:docMkLst>
      <pc:sldChg chg="modSp mod">
        <pc:chgData name="Weigel Stefan (PAR-EPS)" userId="fd3b2067-2981-4ad8-bf3a-d2e1004e4fa8" providerId="ADAL" clId="{9E00B44F-E8CE-4663-B8C6-A6689D310ACF}" dt="2024-01-11T17:06:34.117" v="25" actId="20577"/>
        <pc:sldMkLst>
          <pc:docMk/>
          <pc:sldMk cId="2338066774" sldId="399"/>
        </pc:sldMkLst>
        <pc:spChg chg="mod">
          <ac:chgData name="Weigel Stefan (PAR-EPS)" userId="fd3b2067-2981-4ad8-bf3a-d2e1004e4fa8" providerId="ADAL" clId="{9E00B44F-E8CE-4663-B8C6-A6689D310ACF}" dt="2024-01-11T17:01:31.729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E00B44F-E8CE-4663-B8C6-A6689D310ACF}" dt="2024-01-11T17:06:34.117" v="25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9E00B44F-E8CE-4663-B8C6-A6689D310ACF}" dt="2024-01-11T17:01:35.904" v="2" actId="255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9E00B44F-E8CE-4663-B8C6-A6689D310ACF}" dt="2024-01-11T17:01:36.928" v="3" actId="1076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Weigel Stefan (PAR-ES)" userId="fd3b2067-2981-4ad8-bf3a-d2e1004e4fa8" providerId="ADAL" clId="{42229056-6508-41A6-BCBE-9DDD5149FB9A}"/>
    <pc:docChg chg="custSel modSld">
      <pc:chgData name="Weigel Stefan (PAR-ES)" userId="fd3b2067-2981-4ad8-bf3a-d2e1004e4fa8" providerId="ADAL" clId="{42229056-6508-41A6-BCBE-9DDD5149FB9A}" dt="2023-02-01T14:23:55.834" v="9" actId="27918"/>
      <pc:docMkLst>
        <pc:docMk/>
      </pc:docMkLst>
      <pc:sldChg chg="modSp mod">
        <pc:chgData name="Weigel Stefan (PAR-ES)" userId="fd3b2067-2981-4ad8-bf3a-d2e1004e4fa8" providerId="ADAL" clId="{42229056-6508-41A6-BCBE-9DDD5149FB9A}" dt="2023-02-01T14:23:55.834" v="9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42229056-6508-41A6-BCBE-9DDD5149FB9A}" dt="2023-02-01T14:23:24.417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42229056-6508-41A6-BCBE-9DDD5149FB9A}" dt="2023-02-01T14:23:45.936" v="6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42229056-6508-41A6-BCBE-9DDD5149FB9A}" dt="2023-02-01T14:23:42.217" v="3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hommes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moins de cinq ans</c:v>
                </c:pt>
                <c:pt idx="1">
                  <c:v>entre 5 et 9 ans</c:v>
                </c:pt>
                <c:pt idx="2">
                  <c:v>entre 10 et 14 ans</c:v>
                </c:pt>
                <c:pt idx="3">
                  <c:v>entre 15 et 19 ans</c:v>
                </c:pt>
                <c:pt idx="4">
                  <c:v>entre 20 et 24 ans</c:v>
                </c:pt>
                <c:pt idx="5">
                  <c:v>entre 25 et 29 ans</c:v>
                </c:pt>
                <c:pt idx="6">
                  <c:v>entre 30 et 34 ans</c:v>
                </c:pt>
                <c:pt idx="7">
                  <c:v>entre 35 et 39 ans</c:v>
                </c:pt>
                <c:pt idx="8">
                  <c:v>entre 40 et 44 ans</c:v>
                </c:pt>
                <c:pt idx="9">
                  <c:v>45 ans et plus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747</c:v>
                </c:pt>
                <c:pt idx="1">
                  <c:v>-4039</c:v>
                </c:pt>
                <c:pt idx="2">
                  <c:v>-3180</c:v>
                </c:pt>
                <c:pt idx="3">
                  <c:v>-1746</c:v>
                </c:pt>
                <c:pt idx="4">
                  <c:v>-1300</c:v>
                </c:pt>
                <c:pt idx="5">
                  <c:v>-600</c:v>
                </c:pt>
                <c:pt idx="6">
                  <c:v>-2379</c:v>
                </c:pt>
                <c:pt idx="7">
                  <c:v>-2042</c:v>
                </c:pt>
                <c:pt idx="8">
                  <c:v>-1402</c:v>
                </c:pt>
                <c:pt idx="9">
                  <c:v>-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femmes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moins de cinq ans</c:v>
                </c:pt>
                <c:pt idx="1">
                  <c:v>entre 5 et 9 ans</c:v>
                </c:pt>
                <c:pt idx="2">
                  <c:v>entre 10 et 14 ans</c:v>
                </c:pt>
                <c:pt idx="3">
                  <c:v>entre 15 et 19 ans</c:v>
                </c:pt>
                <c:pt idx="4">
                  <c:v>entre 20 et 24 ans</c:v>
                </c:pt>
                <c:pt idx="5">
                  <c:v>entre 25 et 29 ans</c:v>
                </c:pt>
                <c:pt idx="6">
                  <c:v>entre 30 et 34 ans</c:v>
                </c:pt>
                <c:pt idx="7">
                  <c:v>entre 35 et 39 ans</c:v>
                </c:pt>
                <c:pt idx="8">
                  <c:v>entre 40 et 44 ans</c:v>
                </c:pt>
                <c:pt idx="9">
                  <c:v>45 ans et plus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671</c:v>
                </c:pt>
                <c:pt idx="1">
                  <c:v>1134</c:v>
                </c:pt>
                <c:pt idx="2">
                  <c:v>905</c:v>
                </c:pt>
                <c:pt idx="3">
                  <c:v>432</c:v>
                </c:pt>
                <c:pt idx="4">
                  <c:v>339</c:v>
                </c:pt>
                <c:pt idx="5">
                  <c:v>118</c:v>
                </c:pt>
                <c:pt idx="6">
                  <c:v>412</c:v>
                </c:pt>
                <c:pt idx="7">
                  <c:v>193</c:v>
                </c:pt>
                <c:pt idx="8">
                  <c:v>71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698</cdr:x>
      <cdr:y>0.03681</cdr:y>
    </cdr:from>
    <cdr:to>
      <cdr:x>0.63083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670295" y="164669"/>
          <a:ext cx="638551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Hommes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503</cdr:x>
      <cdr:y>0.03681</cdr:y>
    </cdr:from>
    <cdr:to>
      <cdr:x>0.71616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50804" y="164669"/>
          <a:ext cx="611348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Femmes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Répartition des collaborateurs en fonction de leur ancienneté en 2023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50" dirty="0">
                <a:latin typeface="+mj-lt"/>
                <a:cs typeface="Arial" pitchFamily="34" charset="0"/>
              </a:rPr>
              <a:t>Collaborateurs à la fin de l’année. CFF SA et CFF Cargo SA (Suisse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6014013"/>
              </p:ext>
            </p:extLst>
          </p:nvPr>
        </p:nvGraphicFramePr>
        <p:xfrm>
          <a:off x="703718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3B2EC09-A4EE-4661-AABE-9338767367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96e82a89-ba48-4728-b345-cf206dbec8f1"/>
    <ds:schemaRef ds:uri="http://schemas.microsoft.com/office/infopath/2007/PartnerControls"/>
    <ds:schemaRef ds:uri="http://purl.org/dc/terms/"/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épartition des collaborateurs en fonction de leur ancienneté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partition des collaborateurs en fonction de leur ancienneté en 2023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